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695F1A30-3C84-4FF6-B5AC-F7861455109A}">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notesMaster" Target="notesMasters/notesMaster1.xml"/><Relationship Id="rId35" Type="http://schemas.openxmlformats.org/officeDocument/2006/relationships/presProps" Target="presProps.xml"/><Relationship Id="rId36" Type="http://schemas.openxmlformats.org/officeDocument/2006/relationships/viewProps" Target="viewProps.xml"/><Relationship Id="rId37" Type="http://schemas.openxmlformats.org/officeDocument/2006/relationships/theme" Target="theme/theme1.xml"/><Relationship Id="rId38" Type="http://schemas.openxmlformats.org/officeDocument/2006/relationships/tableStyles" Target="tableStyles.xml"/><Relationship Id="rId39" Type="http://schemas.microsoft.com/office/2015/10/relationships/revisionInfo" Target="revisionInfo.xml"/><Relationship Id="rId4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1721394986459</c:v>
                </c:pt>
                <c:pt idx="1">
                  <c:v>0.0004808605532957111</c:v>
                </c:pt>
                <c:pt idx="2">
                  <c:v>0.002715917198580908</c:v>
                </c:pt>
                <c:pt idx="3">
                  <c:v>0.006469600288010184</c:v>
                </c:pt>
                <c:pt idx="4">
                  <c:v>0.008818804051483218</c:v>
                </c:pt>
                <c:pt idx="5">
                  <c:v>0.009848554281347895</c:v>
                </c:pt>
                <c:pt idx="6">
                  <c:v>0.0058003203150329054</c:v>
                </c:pt>
                <c:pt idx="7">
                  <c:v>0.018070122323801126</c:v>
                </c:pt>
                <c:pt idx="8">
                  <c:v>0.011680382288567862</c:v>
                </c:pt>
                <c:pt idx="9">
                  <c:v>0.0035391978829527617</c:v>
                </c:pt>
                <c:pt idx="10">
                  <c:v>0.000245676787038811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4580604413649191</c:v>
                </c:pt>
                <c:pt idx="7">
                  <c:v>0.006310183683359255</c:v>
                </c:pt>
                <c:pt idx="8">
                  <c:v>0.00325466631360499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254666313604992</c:v>
                </c:pt>
                <c:pt idx="3">
                  <c:v>0.006310183683359255</c:v>
                </c:pt>
                <c:pt idx="4">
                  <c:v/>
                </c:pt>
                <c:pt idx="5">
                  <c:v>0.004580604413649191</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25625255554798197</c:v>
                </c:pt>
                <c:pt idx="5">
                  <c:v>0.008625645312964784</c:v>
                </c:pt>
                <c:pt idx="6">
                  <c:v>0.011454911291099035</c:v>
                </c:pt>
                <c:pt idx="7">
                  <c:v>0.022883483224079806</c:v>
                </c:pt>
                <c:pt idx="8">
                  <c:v>0.05329603119673971</c:v>
                </c:pt>
                <c:pt idx="9">
                  <c:v>0.007252018986606235</c:v>
                </c:pt>
                <c:pt idx="10">
                  <c:v>0.00080131643468539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18616470086973345</c:v>
                </c:pt>
                <c:pt idx="5">
                  <c:v>0.018966274896647383</c:v>
                </c:pt>
                <c:pt idx="6">
                  <c:v>0.017261910588526542</c:v>
                </c:pt>
                <c:pt idx="7">
                  <c:v>0.016312435879906873</c:v>
                </c:pt>
                <c:pt idx="8">
                  <c:v>0.08247058356692072</c:v>
                </c:pt>
                <c:pt idx="9">
                  <c:v>0.011400874901468067</c:v>
                </c:pt>
                <c:pt idx="10">
                  <c:v>0.000838093758509217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380937585092173</c:v>
                </c:pt>
                <c:pt idx="1">
                  <c:v>0.011400874901468067</c:v>
                </c:pt>
                <c:pt idx="2">
                  <c:v>0.08247058356692072</c:v>
                </c:pt>
                <c:pt idx="3">
                  <c:v>0.016312435879906873</c:v>
                </c:pt>
                <c:pt idx="4">
                  <c:v>0.018966274896647383</c:v>
                </c:pt>
                <c:pt idx="5">
                  <c:v>0.017261910588526542</c:v>
                </c:pt>
                <c:pt idx="6">
                  <c:v/>
                </c:pt>
                <c:pt idx="7">
                  <c:v>0.00018616470086973345</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49086843778176</c:v>
                </c:pt>
                <c:pt idx="7">
                  <c:v>0.0018803922850693005</c:v>
                </c:pt>
                <c:pt idx="8">
                  <c:v>0.004369324731405162</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2.631377577736946e-07</c:v>
                </c:pt>
                <c:pt idx="5">
                  <c:v>0.00015579860362264909</c:v>
                </c:pt>
                <c:pt idx="6">
                  <c:v>0.00026059058427844523</c:v>
                </c:pt>
                <c:pt idx="7">
                  <c:v>0.0031476117564476908</c:v>
                </c:pt>
                <c:pt idx="8">
                  <c:v>0.0048853314067439264</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48853314067439264</c:v>
                </c:pt>
                <c:pt idx="3">
                  <c:v>0.0031476117564476908</c:v>
                </c:pt>
                <c:pt idx="4">
                  <c:v>0.00015579860362264909</c:v>
                </c:pt>
                <c:pt idx="5">
                  <c:v>0.00026059058427844523</c:v>
                </c:pt>
                <c:pt idx="6">
                  <c:v/>
                </c:pt>
                <c:pt idx="7">
                  <c:v>2.631377577736946e-07</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1721394986459</c:v>
                </c:pt>
                <c:pt idx="1">
                  <c:v>0.0004808605532957111</c:v>
                </c:pt>
                <c:pt idx="2">
                  <c:v>0.002715917198580908</c:v>
                </c:pt>
                <c:pt idx="3">
                  <c:v>0.006469600288010184</c:v>
                </c:pt>
                <c:pt idx="4">
                  <c:v>0.008818804051483218</c:v>
                </c:pt>
                <c:pt idx="5">
                  <c:v>0.009848554281347895</c:v>
                </c:pt>
                <c:pt idx="6">
                  <c:v>0.0058003203150329054</c:v>
                </c:pt>
                <c:pt idx="7">
                  <c:v>0.018070122323801126</c:v>
                </c:pt>
                <c:pt idx="8">
                  <c:v>0.011680382288567862</c:v>
                </c:pt>
                <c:pt idx="9">
                  <c:v>0.0035391978829527617</c:v>
                </c:pt>
                <c:pt idx="10">
                  <c:v>0.000245676787038811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0562427588681003</c:v>
                </c:pt>
                <c:pt idx="8">
                  <c:v>0.01065329965729549</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2.0902637989208867e-07</c:v>
                </c:pt>
                <c:pt idx="5">
                  <c:v/>
                </c:pt>
                <c:pt idx="6">
                  <c:v/>
                </c:pt>
                <c:pt idx="7">
                  <c:v>0.0037298040148804625</c:v>
                </c:pt>
                <c:pt idx="8">
                  <c:v>0.01297550588120280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12975505881202803</c:v>
                </c:pt>
                <c:pt idx="3">
                  <c:v>0.0037298040148804625</c:v>
                </c:pt>
                <c:pt idx="4">
                  <c:v/>
                </c:pt>
                <c:pt idx="5">
                  <c:v/>
                </c:pt>
                <c:pt idx="6">
                  <c:v/>
                </c:pt>
                <c:pt idx="7">
                  <c:v>2.0902637989208867e-07</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725619934971639</c:v>
                </c:pt>
                <c:pt idx="3">
                  <c:v>0.008949046454423844</c:v>
                </c:pt>
                <c:pt idx="4">
                  <c:v>0.006129297074432178</c:v>
                </c:pt>
                <c:pt idx="5">
                  <c:v>0.024515893736835173</c:v>
                </c:pt>
                <c:pt idx="6">
                  <c:v>0.015661540441294683</c:v>
                </c:pt>
                <c:pt idx="7">
                  <c:v>0.05133844013659845</c:v>
                </c:pt>
                <c:pt idx="8">
                  <c:v>0.057788673815089106</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0562427588681003</c:v>
                </c:pt>
                <c:pt idx="8">
                  <c:v>0.01065329965729549</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06834180411023086</c:v>
                </c:pt>
                <c:pt idx="7">
                  <c:v>0.0011164244939379344</c:v>
                </c:pt>
                <c:pt idx="8">
                  <c:v>0.0129444647510232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1294446475102322</c:v>
                </c:pt>
                <c:pt idx="3">
                  <c:v>0.0011164244939379344</c:v>
                </c:pt>
                <c:pt idx="4">
                  <c:v/>
                </c:pt>
                <c:pt idx="5">
                  <c:v>0.0006834180411023086</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4636169077848524</c:v>
                </c:pt>
                <c:pt idx="8">
                  <c:v>0.10156483467103677</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3.49427717268307e-07</c:v>
                </c:pt>
                <c:pt idx="1">
                  <c:v/>
                </c:pt>
                <c:pt idx="2">
                  <c:v/>
                </c:pt>
                <c:pt idx="3">
                  <c:v/>
                </c:pt>
                <c:pt idx="4">
                  <c:v/>
                </c:pt>
                <c:pt idx="5">
                  <c:v/>
                </c:pt>
                <c:pt idx="6">
                  <c:v>6.204124775988309e-07</c:v>
                </c:pt>
                <c:pt idx="7">
                  <c:v>0.00031789364857931816</c:v>
                </c:pt>
                <c:pt idx="8">
                  <c:v>0.018170234166774064</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25597206184587943</c:v>
                </c:pt>
                <c:pt idx="8">
                  <c:v>0.01119267430049475</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928410744405195e-07</c:v>
                </c:pt>
                <c:pt idx="1">
                  <c:v>1.3956839788943221e-05</c:v>
                </c:pt>
                <c:pt idx="2">
                  <c:v>0.030743646429186058</c:v>
                </c:pt>
                <c:pt idx="3">
                  <c:v>0.03564450001734381</c:v>
                </c:pt>
                <c:pt idx="4">
                  <c:v>0.006332703713131765</c:v>
                </c:pt>
                <c:pt idx="5">
                  <c:v>0.02535841395269573</c:v>
                </c:pt>
                <c:pt idx="6">
                  <c:v>0.01714739853104838</c:v>
                </c:pt>
                <c:pt idx="7">
                  <c:v>0.054161420006419936</c:v>
                </c:pt>
                <c:pt idx="8">
                  <c:v>0.05324888805616224</c:v>
                </c:pt>
                <c:pt idx="9">
                  <c:v>3.460373501390881e-07</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2.815609740400782e-06</c:v>
                </c:pt>
                <c:pt idx="1">
                  <c:v/>
                </c:pt>
                <c:pt idx="2">
                  <c:v/>
                </c:pt>
                <c:pt idx="3">
                  <c:v/>
                </c:pt>
                <c:pt idx="4">
                  <c:v/>
                </c:pt>
                <c:pt idx="5">
                  <c:v/>
                </c:pt>
                <c:pt idx="6">
                  <c:v>0.004580364971976064</c:v>
                </c:pt>
                <c:pt idx="7">
                  <c:v/>
                </c:pt>
                <c:pt idx="8">
                  <c:v>0.01731393129222696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0.017313931292226963</c:v>
                </c:pt>
                <c:pt idx="4">
                  <c:v/>
                </c:pt>
                <c:pt idx="5">
                  <c:v>0.004580364971976064</c:v>
                </c:pt>
                <c:pt idx="6">
                  <c:v/>
                </c:pt>
                <c:pt idx="7">
                  <c:v/>
                </c:pt>
                <c:pt idx="8">
                  <c:v/>
                </c:pt>
                <c:pt idx="9">
                  <c:v/>
                </c:pt>
                <c:pt idx="10">
                  <c:v>2.815609740400782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1195949308392695e-06</c:v>
                </c:pt>
                <c:pt idx="1">
                  <c:v/>
                </c:pt>
                <c:pt idx="2">
                  <c:v/>
                </c:pt>
                <c:pt idx="3">
                  <c:v/>
                </c:pt>
                <c:pt idx="4">
                  <c:v/>
                </c:pt>
                <c:pt idx="5">
                  <c:v/>
                </c:pt>
                <c:pt idx="6">
                  <c:v>0.0004909530739398749</c:v>
                </c:pt>
                <c:pt idx="7">
                  <c:v>0.00590470800935679</c:v>
                </c:pt>
                <c:pt idx="8">
                  <c:v/>
                </c:pt>
                <c:pt idx="9">
                  <c:v>0.035688714329063696</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5311791428824259</c:v>
                </c:pt>
                <c:pt idx="8">
                  <c:v>0.00011739368774773056</c:v>
                </c:pt>
                <c:pt idx="9">
                  <c:v>0.09026574759035522</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0.09026574759035522</c:v>
                </c:pt>
                <c:pt idx="2">
                  <c:v>0.00011739368774773056</c:v>
                </c:pt>
                <c:pt idx="3">
                  <c:v>0.005311791428824259</c:v>
                </c:pt>
                <c:pt idx="4">
                  <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3.460373501390881e-07</c:v>
                </c:pt>
                <c:pt idx="2">
                  <c:v>0.05324888805616224</c:v>
                </c:pt>
                <c:pt idx="3">
                  <c:v>0.054161420006419936</c:v>
                </c:pt>
                <c:pt idx="4">
                  <c:v>0.02535841395269573</c:v>
                </c:pt>
                <c:pt idx="5">
                  <c:v>0.01714739853104838</c:v>
                </c:pt>
                <c:pt idx="6">
                  <c:v>0.03564450001734381</c:v>
                </c:pt>
                <c:pt idx="7">
                  <c:v>0.006332703713131765</c:v>
                </c:pt>
                <c:pt idx="8">
                  <c:v>1.3956839788943221e-05</c:v>
                </c:pt>
                <c:pt idx="9">
                  <c:v>0.030743646429186058</c:v>
                </c:pt>
                <c:pt idx="10">
                  <c:v>4.92841074440519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4636169077848524</c:v>
                </c:pt>
                <c:pt idx="8">
                  <c:v>0.10156483467103677</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3.49427717268307e-07</c:v>
                </c:pt>
                <c:pt idx="1">
                  <c:v/>
                </c:pt>
                <c:pt idx="2">
                  <c:v/>
                </c:pt>
                <c:pt idx="3">
                  <c:v/>
                </c:pt>
                <c:pt idx="4">
                  <c:v/>
                </c:pt>
                <c:pt idx="5">
                  <c:v/>
                </c:pt>
                <c:pt idx="6">
                  <c:v>6.204124775988309e-07</c:v>
                </c:pt>
                <c:pt idx="7">
                  <c:v>0.00031789364857931816</c:v>
                </c:pt>
                <c:pt idx="8">
                  <c:v>0.018170234166774064</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25597206184587943</c:v>
                </c:pt>
                <c:pt idx="8">
                  <c:v>0.01119267430049475</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0.0202286355530656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3649632933266263</c:v>
                </c:pt>
                <c:pt idx="8">
                  <c:v>0.15958441887694685</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0.02022863555306563</c:v>
                </c:pt>
                <c:pt idx="4">
                  <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1195949308392695e-06</c:v>
                </c:pt>
                <c:pt idx="1">
                  <c:v/>
                </c:pt>
                <c:pt idx="2">
                  <c:v/>
                </c:pt>
                <c:pt idx="3">
                  <c:v/>
                </c:pt>
                <c:pt idx="4">
                  <c:v/>
                </c:pt>
                <c:pt idx="5">
                  <c:v/>
                </c:pt>
                <c:pt idx="6">
                  <c:v>0.0004909530739398749</c:v>
                </c:pt>
                <c:pt idx="7">
                  <c:v>0.00590470800935679</c:v>
                </c:pt>
                <c:pt idx="8">
                  <c:v/>
                </c:pt>
                <c:pt idx="9">
                  <c:v>0.035688714329063696</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3.1674167214092346e-06</c:v>
                </c:pt>
                <c:pt idx="7">
                  <c:v>1.341158431587694e-06</c:v>
                </c:pt>
                <c:pt idx="8">
                  <c:v>1.8205512326658483e-05</c:v>
                </c:pt>
                <c:pt idx="9">
                  <c:v>5.2790278690153906e-06</c:v>
                </c:pt>
                <c:pt idx="10">
                  <c:v>2.1116111476061564e-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116111476061564e-06</c:v>
                </c:pt>
                <c:pt idx="1">
                  <c:v>5.2790278690153906e-06</c:v>
                </c:pt>
                <c:pt idx="2">
                  <c:v>1.8205512326658483e-05</c:v>
                </c:pt>
                <c:pt idx="3">
                  <c:v>1.341158431587694e-06</c:v>
                </c:pt>
                <c:pt idx="4">
                  <c:v/>
                </c:pt>
                <c:pt idx="5">
                  <c:v>3.1674167214092346e-06</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7.405405396720762e-07</c:v>
                </c:pt>
                <c:pt idx="3">
                  <c:v>0.08206079859622176</c:v>
                </c:pt>
                <c:pt idx="4">
                  <c:v>0.013735802625934962</c:v>
                </c:pt>
                <c:pt idx="5">
                  <c:v>0.06158870680921726</c:v>
                </c:pt>
                <c:pt idx="6">
                  <c:v>0.02319507043178579</c:v>
                </c:pt>
                <c:pt idx="7">
                  <c:v>0.05900056563816069</c:v>
                </c:pt>
                <c:pt idx="8">
                  <c:v>0.024630784631086092</c:v>
                </c:pt>
                <c:pt idx="9">
                  <c:v>3.31710453206729e-05</c:v>
                </c:pt>
                <c:pt idx="10">
                  <c:v>5.6986533599004805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859732614624831e-05</c:v>
                </c:pt>
                <c:pt idx="5">
                  <c:v>0.0012992137567346953</c:v>
                </c:pt>
                <c:pt idx="6">
                  <c:v>0.0017253640500615628</c:v>
                </c:pt>
                <c:pt idx="7">
                  <c:v>0.003580900132953554</c:v>
                </c:pt>
                <c:pt idx="8">
                  <c:v>0.010568384492545829</c:v>
                </c:pt>
                <c:pt idx="9">
                  <c:v>0.001092315124218984</c:v>
                </c:pt>
                <c:pt idx="10">
                  <c:v>0.000120696052024776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4.171911535281731e-05</c:v>
                </c:pt>
                <c:pt idx="5">
                  <c:v>0.0006502139779190402</c:v>
                </c:pt>
                <c:pt idx="6">
                  <c:v>0.0024618690465788855</c:v>
                </c:pt>
                <c:pt idx="7">
                  <c:v>0.007174550950070865</c:v>
                </c:pt>
                <c:pt idx="8">
                  <c:v>0.008591496943341055</c:v>
                </c:pt>
                <c:pt idx="9">
                  <c:v>0.001333507762564556</c:v>
                </c:pt>
                <c:pt idx="10">
                  <c:v>0.0001596549534337289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5965495343372898</c:v>
                </c:pt>
                <c:pt idx="1">
                  <c:v>0.001333507762564556</c:v>
                </c:pt>
                <c:pt idx="2">
                  <c:v>0.008591496943341055</c:v>
                </c:pt>
                <c:pt idx="3">
                  <c:v>0.007174550950070865</c:v>
                </c:pt>
                <c:pt idx="4">
                  <c:v>0.0006502139779190402</c:v>
                </c:pt>
                <c:pt idx="5">
                  <c:v>0.0024618690465788855</c:v>
                </c:pt>
                <c:pt idx="6">
                  <c:v/>
                </c:pt>
                <c:pt idx="7">
                  <c:v>4.171911535281731e-05</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802802531396431e-08</c:v>
                </c:pt>
                <c:pt idx="1">
                  <c:v/>
                </c:pt>
                <c:pt idx="2">
                  <c:v>9.03654768862461e-08</c:v>
                </c:pt>
                <c:pt idx="3">
                  <c:v>0.010013581703572184</c:v>
                </c:pt>
                <c:pt idx="4">
                  <c:v>0.0016761301889800756</c:v>
                </c:pt>
                <c:pt idx="5">
                  <c:v>0.007515446573777856</c:v>
                </c:pt>
                <c:pt idx="6">
                  <c:v>0.002830410340406952</c:v>
                </c:pt>
                <c:pt idx="7">
                  <c:v>0.007199625091168654</c:v>
                </c:pt>
                <c:pt idx="8">
                  <c:v>0.0030056053383061584</c:v>
                </c:pt>
                <c:pt idx="9">
                  <c:v>4.047742383617836e-06</c:v>
                </c:pt>
                <c:pt idx="10">
                  <c:v>6.953860064228883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7415229367946326e-06</c:v>
                </c:pt>
                <c:pt idx="1">
                  <c:v>6.426479576343146e-07</c:v>
                </c:pt>
                <c:pt idx="2">
                  <c:v>4.45613418870969e-06</c:v>
                </c:pt>
                <c:pt idx="3">
                  <c:v>0.01687721138806102</c:v>
                </c:pt>
                <c:pt idx="4">
                  <c:v>0.00413778096601834</c:v>
                </c:pt>
                <c:pt idx="5">
                  <c:v>0.005769305124771625</c:v>
                </c:pt>
                <c:pt idx="6">
                  <c:v>0.0028979991016709087</c:v>
                </c:pt>
                <c:pt idx="7">
                  <c:v>0.006704058442431768</c:v>
                </c:pt>
                <c:pt idx="8">
                  <c:v>0.0020856655822744283</c:v>
                </c:pt>
                <c:pt idx="9">
                  <c:v>0.0018707747056201961</c:v>
                </c:pt>
                <c:pt idx="10">
                  <c:v>2.1420715222920265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420715222920265e-05</c:v>
                </c:pt>
                <c:pt idx="1">
                  <c:v>0.0018707747056201961</c:v>
                </c:pt>
                <c:pt idx="2">
                  <c:v>0.0020856655822744283</c:v>
                </c:pt>
                <c:pt idx="3">
                  <c:v>0.006704058442431768</c:v>
                </c:pt>
                <c:pt idx="4">
                  <c:v>0.005769305124771625</c:v>
                </c:pt>
                <c:pt idx="5">
                  <c:v>0.0028979991016709087</c:v>
                </c:pt>
                <c:pt idx="6">
                  <c:v>0.01687721138806102</c:v>
                </c:pt>
                <c:pt idx="7">
                  <c:v>0.00413778096601834</c:v>
                </c:pt>
                <c:pt idx="8">
                  <c:v>6.426479576343146e-07</c:v>
                </c:pt>
                <c:pt idx="9">
                  <c:v>4.45613418870969e-06</c:v>
                </c:pt>
                <c:pt idx="10">
                  <c:v>2.7415229367946326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4546238917179327</c:v>
                </c:pt>
                <c:pt idx="3">
                  <c:v>0.0010920196899541514</c:v>
                </c:pt>
                <c:pt idx="4">
                  <c:v>0.0007479358974105629</c:v>
                </c:pt>
                <c:pt idx="5">
                  <c:v>0.002991585619070438</c:v>
                </c:pt>
                <c:pt idx="6">
                  <c:v>0.002286301099998601</c:v>
                </c:pt>
                <c:pt idx="7">
                  <c:v>0.00654787253976347</c:v>
                </c:pt>
                <c:pt idx="8">
                  <c:v>0.007709859672012065</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227722476043873e-08</c:v>
                </c:pt>
                <c:pt idx="1">
                  <c:v>1.7636380033222116e-06</c:v>
                </c:pt>
                <c:pt idx="2">
                  <c:v>0.00388488110655021</c:v>
                </c:pt>
                <c:pt idx="3">
                  <c:v>0.004504171129757354</c:v>
                </c:pt>
                <c:pt idx="4">
                  <c:v>0.0008002239117989131</c:v>
                </c:pt>
                <c:pt idx="5">
                  <c:v>0.003204383171782237</c:v>
                </c:pt>
                <c:pt idx="6">
                  <c:v>0.002846086397167409</c:v>
                </c:pt>
                <c:pt idx="7">
                  <c:v>0.007779802096760204</c:v>
                </c:pt>
                <c:pt idx="8">
                  <c:v>0.007211375340566979</c:v>
                </c:pt>
                <c:pt idx="9">
                  <c:v>4.372656206583996e-08</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4.372656206583996e-08</c:v>
                </c:pt>
                <c:pt idx="2">
                  <c:v>0.007211375340566979</c:v>
                </c:pt>
                <c:pt idx="3">
                  <c:v>0.007779802096760204</c:v>
                </c:pt>
                <c:pt idx="4">
                  <c:v>0.003204383171782237</c:v>
                </c:pt>
                <c:pt idx="5">
                  <c:v>0.002846086397167409</c:v>
                </c:pt>
                <c:pt idx="6">
                  <c:v>0.004504171129757354</c:v>
                </c:pt>
                <c:pt idx="7">
                  <c:v>0.0008002239117989131</c:v>
                </c:pt>
                <c:pt idx="8">
                  <c:v>1.7636380033222116e-06</c:v>
                </c:pt>
                <c:pt idx="9">
                  <c:v>0.00388488110655021</c:v>
                </c:pt>
                <c:pt idx="10">
                  <c:v>6.227722476043873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859732614624831e-05</c:v>
                </c:pt>
                <c:pt idx="5">
                  <c:v>0.0012992137567346953</c:v>
                </c:pt>
                <c:pt idx="6">
                  <c:v>0.0017253640500615628</c:v>
                </c:pt>
                <c:pt idx="7">
                  <c:v>0.003580900132953554</c:v>
                </c:pt>
                <c:pt idx="8">
                  <c:v>0.010568384492545829</c:v>
                </c:pt>
                <c:pt idx="9">
                  <c:v>0.001092315124218984</c:v>
                </c:pt>
                <c:pt idx="10">
                  <c:v>0.000120696052024776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0870250118648524e-05</c:v>
                </c:pt>
                <c:pt idx="5">
                  <c:v>0.0031450304334989998</c:v>
                </c:pt>
                <c:pt idx="6">
                  <c:v>0.0030075690687200933</c:v>
                </c:pt>
                <c:pt idx="7">
                  <c:v>0.002942096980607313</c:v>
                </c:pt>
                <c:pt idx="8">
                  <c:v>0.016424903435520586</c:v>
                </c:pt>
                <c:pt idx="9">
                  <c:v>0.0018905187618033612</c:v>
                </c:pt>
                <c:pt idx="10">
                  <c:v>0.0001389745952223321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3897459522233216</c:v>
                </c:pt>
                <c:pt idx="1">
                  <c:v>0.0018905187618033612</c:v>
                </c:pt>
                <c:pt idx="2">
                  <c:v>0.016424903435520586</c:v>
                </c:pt>
                <c:pt idx="3">
                  <c:v>0.002942096980607313</c:v>
                </c:pt>
                <c:pt idx="4">
                  <c:v>0.0031450304334989998</c:v>
                </c:pt>
                <c:pt idx="5">
                  <c:v>0.0030075690687200933</c:v>
                </c:pt>
                <c:pt idx="6">
                  <c:v/>
                </c:pt>
                <c:pt idx="7">
                  <c:v>3.0870250118648524e-05</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1721394986459</c:v>
                </c:pt>
                <c:pt idx="1">
                  <c:v>0.0004808605532957111</c:v>
                </c:pt>
                <c:pt idx="2">
                  <c:v>0.002715917198580908</c:v>
                </c:pt>
                <c:pt idx="3">
                  <c:v>0.006469600288010184</c:v>
                </c:pt>
                <c:pt idx="4">
                  <c:v>0.008818804051483218</c:v>
                </c:pt>
                <c:pt idx="5">
                  <c:v>0.009848554281347895</c:v>
                </c:pt>
                <c:pt idx="6">
                  <c:v>0.0058003203150329054</c:v>
                </c:pt>
                <c:pt idx="7">
                  <c:v>0.018070122323801126</c:v>
                </c:pt>
                <c:pt idx="8">
                  <c:v>0.011680382288567862</c:v>
                </c:pt>
                <c:pt idx="9">
                  <c:v>0.0035391978829527617</c:v>
                </c:pt>
                <c:pt idx="10">
                  <c:v>0.000245676787038811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802802531396431e-08</c:v>
                </c:pt>
                <c:pt idx="1">
                  <c:v/>
                </c:pt>
                <c:pt idx="2">
                  <c:v>9.03654768862461e-08</c:v>
                </c:pt>
                <c:pt idx="3">
                  <c:v>0.010013581703572184</c:v>
                </c:pt>
                <c:pt idx="4">
                  <c:v>0.0016761301889800756</c:v>
                </c:pt>
                <c:pt idx="5">
                  <c:v>0.007515446573777856</c:v>
                </c:pt>
                <c:pt idx="6">
                  <c:v>0.002830410340406952</c:v>
                </c:pt>
                <c:pt idx="7">
                  <c:v>0.007199625091168654</c:v>
                </c:pt>
                <c:pt idx="8">
                  <c:v>0.0030056053383061584</c:v>
                </c:pt>
                <c:pt idx="9">
                  <c:v>4.047742383617836e-06</c:v>
                </c:pt>
                <c:pt idx="10">
                  <c:v>6.953860064228883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5243422027842138</c:v>
                </c:pt>
                <c:pt idx="1">
                  <c:v/>
                </c:pt>
                <c:pt idx="2">
                  <c:v>0.002102034168663126</c:v>
                </c:pt>
                <c:pt idx="3">
                  <c:v>0.010576402164695872</c:v>
                </c:pt>
                <c:pt idx="4">
                  <c:v>0.006137762164272656</c:v>
                </c:pt>
                <c:pt idx="5">
                  <c:v>0.004654780621441087</c:v>
                </c:pt>
                <c:pt idx="6">
                  <c:v>0.0013971078968719594</c:v>
                </c:pt>
                <c:pt idx="7">
                  <c:v>0.012103558866146936</c:v>
                </c:pt>
                <c:pt idx="8">
                  <c:v>0.0018740460179451713</c:v>
                </c:pt>
                <c:pt idx="9">
                  <c:v>1.7628174715799745e-07</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1.7628174715799745e-07</c:v>
                </c:pt>
                <c:pt idx="2">
                  <c:v>0.0018740460179451713</c:v>
                </c:pt>
                <c:pt idx="3">
                  <c:v>0.012103558866146936</c:v>
                </c:pt>
                <c:pt idx="4">
                  <c:v>0.004654780621441087</c:v>
                </c:pt>
                <c:pt idx="5">
                  <c:v>0.0013971078968719594</c:v>
                </c:pt>
                <c:pt idx="6">
                  <c:v>0.010576402164695872</c:v>
                </c:pt>
                <c:pt idx="7">
                  <c:v>0.006137762164272656</c:v>
                </c:pt>
                <c:pt idx="8">
                  <c:v/>
                </c:pt>
                <c:pt idx="9">
                  <c:v>0.002102034168663126</c:v>
                </c:pt>
                <c:pt idx="10">
                  <c:v>0.000524342202784213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7.405405396720762e-07</c:v>
                </c:pt>
                <c:pt idx="3">
                  <c:v>0.08206079859622176</c:v>
                </c:pt>
                <c:pt idx="4">
                  <c:v>0.013735802625934962</c:v>
                </c:pt>
                <c:pt idx="5">
                  <c:v>0.06158870680921726</c:v>
                </c:pt>
                <c:pt idx="6">
                  <c:v>0.02319507043178579</c:v>
                </c:pt>
                <c:pt idx="7">
                  <c:v>0.05900056563816069</c:v>
                </c:pt>
                <c:pt idx="8">
                  <c:v>0.024630784631086092</c:v>
                </c:pt>
                <c:pt idx="9">
                  <c:v>3.31710453206729e-05</c:v>
                </c:pt>
                <c:pt idx="10">
                  <c:v>5.6986533599004805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4546238917179327</c:v>
                </c:pt>
                <c:pt idx="3">
                  <c:v>0.0010920196899541514</c:v>
                </c:pt>
                <c:pt idx="4">
                  <c:v>0.0007479358974105629</c:v>
                </c:pt>
                <c:pt idx="5">
                  <c:v>0.002991585619070438</c:v>
                </c:pt>
                <c:pt idx="6">
                  <c:v>0.002286301099998601</c:v>
                </c:pt>
                <c:pt idx="7">
                  <c:v>0.00654787253976347</c:v>
                </c:pt>
                <c:pt idx="8">
                  <c:v>0.007709859672012065</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935309084378067e-05</c:v>
                </c:pt>
                <c:pt idx="1">
                  <c:v>0.002305581989624116</c:v>
                </c:pt>
                <c:pt idx="2">
                  <c:v>0.004111146912207988</c:v>
                </c:pt>
                <c:pt idx="3">
                  <c:v/>
                </c:pt>
                <c:pt idx="4">
                  <c:v>2.548405732924674e-05</c:v>
                </c:pt>
                <c:pt idx="5">
                  <c:v>0.00498100832087721</c:v>
                </c:pt>
                <c:pt idx="6">
                  <c:v>0.0038259509711276803</c:v>
                </c:pt>
                <c:pt idx="7">
                  <c:v>0.006416261144324794</c:v>
                </c:pt>
                <c:pt idx="8">
                  <c:v>0.008254967035374369</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8254967035374369</c:v>
                </c:pt>
                <c:pt idx="3">
                  <c:v>0.006416261144324794</c:v>
                </c:pt>
                <c:pt idx="4">
                  <c:v>0.00498100832087721</c:v>
                </c:pt>
                <c:pt idx="5">
                  <c:v>0.0038259509711276803</c:v>
                </c:pt>
                <c:pt idx="6">
                  <c:v/>
                </c:pt>
                <c:pt idx="7">
                  <c:v>2.548405732924674e-05</c:v>
                </c:pt>
                <c:pt idx="8">
                  <c:v>0.002305581989624116</c:v>
                </c:pt>
                <c:pt idx="9">
                  <c:v>0.004111146912207988</c:v>
                </c:pt>
                <c:pt idx="10">
                  <c:v>9.935309084378067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302732612301194e-09</c:v>
                </c:pt>
                <c:pt idx="1">
                  <c:v/>
                </c:pt>
                <c:pt idx="2">
                  <c:v/>
                </c:pt>
                <c:pt idx="3">
                  <c:v/>
                </c:pt>
                <c:pt idx="4">
                  <c:v>2.20308802783084e-05</c:v>
                </c:pt>
                <c:pt idx="5">
                  <c:v>0.003027130699712801</c:v>
                </c:pt>
                <c:pt idx="6">
                  <c:v>0.0010604486537568623</c:v>
                </c:pt>
                <c:pt idx="7">
                  <c:v>0.0023716758350342034</c:v>
                </c:pt>
                <c:pt idx="8">
                  <c:v>0.006071167257699736</c:v>
                </c:pt>
                <c:pt idx="9">
                  <c:v>0.0006234800731188243</c:v>
                </c:pt>
                <c:pt idx="10">
                  <c:v>6.889182587796395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39433076220715705</c:v>
                </c:pt>
                <c:pt idx="1">
                  <c:v/>
                </c:pt>
                <c:pt idx="2">
                  <c:v>0.015808316239147732</c:v>
                </c:pt>
                <c:pt idx="3">
                  <c:v>0.07953967284854058</c:v>
                </c:pt>
                <c:pt idx="4">
                  <c:v>0.04615894771834592</c:v>
                </c:pt>
                <c:pt idx="5">
                  <c:v>0.035006207408320195</c:v>
                </c:pt>
                <c:pt idx="6">
                  <c:v>0.010506928851688921</c:v>
                </c:pt>
                <c:pt idx="7">
                  <c:v>0.09102463177222263</c:v>
                </c:pt>
                <c:pt idx="8">
                  <c:v>0.014093734792729056</c:v>
                </c:pt>
                <c:pt idx="9">
                  <c:v>1.3257242188576946e-06</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01553729815362e-08</c:v>
                </c:pt>
                <c:pt idx="1">
                  <c:v/>
                </c:pt>
                <c:pt idx="2">
                  <c:v/>
                </c:pt>
                <c:pt idx="3">
                  <c:v/>
                </c:pt>
                <c:pt idx="4">
                  <c:v>0.00010924894997290601</c:v>
                </c:pt>
                <c:pt idx="5">
                  <c:v>0.0024172512273142985</c:v>
                </c:pt>
                <c:pt idx="6">
                  <c:v>0.0024872310522562045</c:v>
                </c:pt>
                <c:pt idx="7">
                  <c:v>0.004667833658563696</c:v>
                </c:pt>
                <c:pt idx="8">
                  <c:v>0.005388863008772088</c:v>
                </c:pt>
                <c:pt idx="9">
                  <c:v>0.0008218578878327005</c:v>
                </c:pt>
                <c:pt idx="10">
                  <c:v>9.839738957254141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839738957254141e-05</c:v>
                </c:pt>
                <c:pt idx="1">
                  <c:v>0.0008218578878327005</c:v>
                </c:pt>
                <c:pt idx="2">
                  <c:v>0.005388863008772088</c:v>
                </c:pt>
                <c:pt idx="3">
                  <c:v>0.004667833658563696</c:v>
                </c:pt>
                <c:pt idx="4">
                  <c:v>0.0024172512273142985</c:v>
                </c:pt>
                <c:pt idx="5">
                  <c:v>0.0024872310522562045</c:v>
                </c:pt>
                <c:pt idx="6">
                  <c:v/>
                </c:pt>
                <c:pt idx="7">
                  <c:v>0.00010924894997290601</c:v>
                </c:pt>
                <c:pt idx="8">
                  <c:v/>
                </c:pt>
                <c:pt idx="9">
                  <c:v/>
                </c:pt>
                <c:pt idx="10">
                  <c:v>4.001553729815362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484645492150674e-08</c:v>
                </c:pt>
                <c:pt idx="1">
                  <c:v/>
                </c:pt>
                <c:pt idx="2">
                  <c:v>5.157950566393426e-08</c:v>
                </c:pt>
                <c:pt idx="3">
                  <c:v>0.005715629596531041</c:v>
                </c:pt>
                <c:pt idx="4">
                  <c:v>0.0009567145502349202</c:v>
                </c:pt>
                <c:pt idx="5">
                  <c:v>0.004289724709881665</c:v>
                </c:pt>
                <c:pt idx="6">
                  <c:v>0.0016244189686863194</c:v>
                </c:pt>
                <c:pt idx="7">
                  <c:v>0.004215962672475138</c:v>
                </c:pt>
                <c:pt idx="8">
                  <c:v>0.0017155626563656109</c:v>
                </c:pt>
                <c:pt idx="9">
                  <c:v>0.0006460384535286234</c:v>
                </c:pt>
                <c:pt idx="10">
                  <c:v>3.9691780193957194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6896356463240782e-06</c:v>
                </c:pt>
                <c:pt idx="1">
                  <c:v>3.9607215488988784e-07</c:v>
                </c:pt>
                <c:pt idx="2">
                  <c:v>2.7463724884426656e-06</c:v>
                </c:pt>
                <c:pt idx="3">
                  <c:v>0.010401641215212906</c:v>
                </c:pt>
                <c:pt idx="4">
                  <c:v>0.0025501673259900166</c:v>
                </c:pt>
                <c:pt idx="5">
                  <c:v>0.0035556965300212423</c:v>
                </c:pt>
                <c:pt idx="6">
                  <c:v>0.0017860739078562468</c:v>
                </c:pt>
                <c:pt idx="7">
                  <c:v>0.004207288306650299</c:v>
                </c:pt>
                <c:pt idx="8">
                  <c:v>0.0012870907741153095</c:v>
                </c:pt>
                <c:pt idx="9">
                  <c:v>0.0024358421192855737</c:v>
                </c:pt>
                <c:pt idx="10">
                  <c:v>1.3201860733917374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3201860733917374e-05</c:v>
                </c:pt>
                <c:pt idx="1">
                  <c:v>0.0024358421192855737</c:v>
                </c:pt>
                <c:pt idx="2">
                  <c:v>0.0012870907741153095</c:v>
                </c:pt>
                <c:pt idx="3">
                  <c:v>0.004207288306650299</c:v>
                </c:pt>
                <c:pt idx="4">
                  <c:v>0.0035556965300212423</c:v>
                </c:pt>
                <c:pt idx="5">
                  <c:v>0.0017860739078562468</c:v>
                </c:pt>
                <c:pt idx="6">
                  <c:v>0.010401641215212906</c:v>
                </c:pt>
                <c:pt idx="7">
                  <c:v>0.0025501673259900166</c:v>
                </c:pt>
                <c:pt idx="8">
                  <c:v>3.9607215488988784e-07</c:v>
                </c:pt>
                <c:pt idx="9">
                  <c:v>2.7463724884426656e-06</c:v>
                </c:pt>
                <c:pt idx="10">
                  <c:v>1.6896356463240782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1.3257242188576946e-06</c:v>
                </c:pt>
                <c:pt idx="2">
                  <c:v>0.014093734792729056</c:v>
                </c:pt>
                <c:pt idx="3">
                  <c:v>0.09102463177222263</c:v>
                </c:pt>
                <c:pt idx="4">
                  <c:v>0.035006207408320195</c:v>
                </c:pt>
                <c:pt idx="5">
                  <c:v>0.010506928851688921</c:v>
                </c:pt>
                <c:pt idx="6">
                  <c:v>0.07953967284854058</c:v>
                </c:pt>
                <c:pt idx="7">
                  <c:v>0.04615894771834592</c:v>
                </c:pt>
                <c:pt idx="8">
                  <c:v/>
                </c:pt>
                <c:pt idx="9">
                  <c:v>0.015808316239147732</c:v>
                </c:pt>
                <c:pt idx="10">
                  <c:v>0.00394330762207157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25949374037325524</c:v>
                </c:pt>
                <c:pt idx="3">
                  <c:v>0.0006233114428646462</c:v>
                </c:pt>
                <c:pt idx="4">
                  <c:v>0.0004269126350687095</c:v>
                </c:pt>
                <c:pt idx="5">
                  <c:v>0.0017075603726103231</c:v>
                </c:pt>
                <c:pt idx="6">
                  <c:v>0.0013049926210790099</c:v>
                </c:pt>
                <c:pt idx="7">
                  <c:v>0.003737445320812045</c:v>
                </c:pt>
                <c:pt idx="8">
                  <c:v>0.0044006933214249585</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838225006149429e-08</c:v>
                </c:pt>
                <c:pt idx="1">
                  <c:v>1.086952655996785e-06</c:v>
                </c:pt>
                <c:pt idx="2">
                  <c:v>0.0023943019083519984</c:v>
                </c:pt>
                <c:pt idx="3">
                  <c:v>0.002775978269537971</c:v>
                </c:pt>
                <c:pt idx="4">
                  <c:v>0.0004931882306252701</c:v>
                </c:pt>
                <c:pt idx="5">
                  <c:v>0.0019749023285045237</c:v>
                </c:pt>
                <c:pt idx="6">
                  <c:v>0.001754079444177327</c:v>
                </c:pt>
                <c:pt idx="7">
                  <c:v>0.004794791525400081</c:v>
                </c:pt>
                <c:pt idx="8">
                  <c:v>0.004444462846147311</c:v>
                </c:pt>
                <c:pt idx="9">
                  <c:v>2.6949239404878965e-08</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2.6949239404878965e-08</c:v>
                </c:pt>
                <c:pt idx="2">
                  <c:v>0.004444462846147311</c:v>
                </c:pt>
                <c:pt idx="3">
                  <c:v>0.004794791525400081</c:v>
                </c:pt>
                <c:pt idx="4">
                  <c:v>0.0019749023285045237</c:v>
                </c:pt>
                <c:pt idx="5">
                  <c:v>0.001754079444177327</c:v>
                </c:pt>
                <c:pt idx="6">
                  <c:v>0.002775978269537971</c:v>
                </c:pt>
                <c:pt idx="7">
                  <c:v>0.0004931882306252701</c:v>
                </c:pt>
                <c:pt idx="8">
                  <c:v>1.086952655996785e-06</c:v>
                </c:pt>
                <c:pt idx="9">
                  <c:v>0.0023943019083519984</c:v>
                </c:pt>
                <c:pt idx="10">
                  <c:v>3.838225006149429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302732612301194e-09</c:v>
                </c:pt>
                <c:pt idx="1">
                  <c:v/>
                </c:pt>
                <c:pt idx="2">
                  <c:v/>
                </c:pt>
                <c:pt idx="3">
                  <c:v/>
                </c:pt>
                <c:pt idx="4">
                  <c:v>2.20308802783084e-05</c:v>
                </c:pt>
                <c:pt idx="5">
                  <c:v>0.003027130699712801</c:v>
                </c:pt>
                <c:pt idx="6">
                  <c:v>0.0010604486537568623</c:v>
                </c:pt>
                <c:pt idx="7">
                  <c:v>0.0023716758350342034</c:v>
                </c:pt>
                <c:pt idx="8">
                  <c:v>0.006071167257699736</c:v>
                </c:pt>
                <c:pt idx="9">
                  <c:v>0.0006234800731188243</c:v>
                </c:pt>
                <c:pt idx="10">
                  <c:v>6.889182587796395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1.2563846968820616e-05</c:v>
                </c:pt>
                <c:pt idx="5">
                  <c:v>0.003910096202506397</c:v>
                </c:pt>
                <c:pt idx="6">
                  <c:v>0.0016312763370760876</c:v>
                </c:pt>
                <c:pt idx="7">
                  <c:v>0.0017009624633459602</c:v>
                </c:pt>
                <c:pt idx="8">
                  <c:v>0.006684752227416385</c:v>
                </c:pt>
                <c:pt idx="9">
                  <c:v>0.0007694200184219795</c:v>
                </c:pt>
                <c:pt idx="10">
                  <c:v>5.656110786975414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656110786975414e-05</c:v>
                </c:pt>
                <c:pt idx="1">
                  <c:v>0.0007694200184219795</c:v>
                </c:pt>
                <c:pt idx="2">
                  <c:v>0.006684752227416385</c:v>
                </c:pt>
                <c:pt idx="3">
                  <c:v>0.0017009624633459602</c:v>
                </c:pt>
                <c:pt idx="4">
                  <c:v>0.003910096202506397</c:v>
                </c:pt>
                <c:pt idx="5">
                  <c:v>0.0016312763370760876</c:v>
                </c:pt>
                <c:pt idx="6">
                  <c:v/>
                </c:pt>
                <c:pt idx="7">
                  <c:v>1.2563846968820616e-05</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484645492150674e-08</c:v>
                </c:pt>
                <c:pt idx="1">
                  <c:v/>
                </c:pt>
                <c:pt idx="2">
                  <c:v>5.157950566393426e-08</c:v>
                </c:pt>
                <c:pt idx="3">
                  <c:v>0.005715629596531041</c:v>
                </c:pt>
                <c:pt idx="4">
                  <c:v>0.0009567145502349202</c:v>
                </c:pt>
                <c:pt idx="5">
                  <c:v>0.004289724709881665</c:v>
                </c:pt>
                <c:pt idx="6">
                  <c:v>0.0016244189686863194</c:v>
                </c:pt>
                <c:pt idx="7">
                  <c:v>0.004215962672475138</c:v>
                </c:pt>
                <c:pt idx="8">
                  <c:v>0.0017155626563656109</c:v>
                </c:pt>
                <c:pt idx="9">
                  <c:v>0.0006460384535286234</c:v>
                </c:pt>
                <c:pt idx="10">
                  <c:v>3.9691780193957194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21340141948171477</c:v>
                </c:pt>
                <c:pt idx="1">
                  <c:v/>
                </c:pt>
                <c:pt idx="2">
                  <c:v>0.0008555044263266814</c:v>
                </c:pt>
                <c:pt idx="3">
                  <c:v>0.004304477539612479</c:v>
                </c:pt>
                <c:pt idx="4">
                  <c:v>0.00249800064031081</c:v>
                </c:pt>
                <c:pt idx="5">
                  <c:v>0.0018944437177037627</c:v>
                </c:pt>
                <c:pt idx="6">
                  <c:v>0.0005686861560723379</c:v>
                </c:pt>
                <c:pt idx="7">
                  <c:v>0.004926046644477025</c:v>
                </c:pt>
                <c:pt idx="8">
                  <c:v>0.0007631689948834697</c:v>
                </c:pt>
                <c:pt idx="9">
                  <c:v>2.031582650015659e-07</c:v>
                </c:pt>
                <c:pt idx="10">
                  <c:v>5.256542521019537e-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256542521019537e-08</c:v>
                </c:pt>
                <c:pt idx="1">
                  <c:v>2.031582650015659e-07</c:v>
                </c:pt>
                <c:pt idx="2">
                  <c:v>0.0007631689948834697</c:v>
                </c:pt>
                <c:pt idx="3">
                  <c:v>0.004926046644477025</c:v>
                </c:pt>
                <c:pt idx="4">
                  <c:v>0.0018944437177037627</c:v>
                </c:pt>
                <c:pt idx="5">
                  <c:v>0.0005686861560723379</c:v>
                </c:pt>
                <c:pt idx="6">
                  <c:v>0.004304477539612479</c:v>
                </c:pt>
                <c:pt idx="7">
                  <c:v>0.00249800064031081</c:v>
                </c:pt>
                <c:pt idx="8">
                  <c:v/>
                </c:pt>
                <c:pt idx="9">
                  <c:v>0.0008555044263266814</c:v>
                </c:pt>
                <c:pt idx="10">
                  <c:v>0.0002134014194817147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25949374037325524</c:v>
                </c:pt>
                <c:pt idx="3">
                  <c:v>0.0006233114428646462</c:v>
                </c:pt>
                <c:pt idx="4">
                  <c:v>0.0004269126350687095</c:v>
                </c:pt>
                <c:pt idx="5">
                  <c:v>0.0017075603726103231</c:v>
                </c:pt>
                <c:pt idx="6">
                  <c:v>0.0013049926210790099</c:v>
                </c:pt>
                <c:pt idx="7">
                  <c:v>0.003737445320812045</c:v>
                </c:pt>
                <c:pt idx="8">
                  <c:v>0.0044006933214249585</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43559817115083e-05</c:v>
                </c:pt>
                <c:pt idx="1">
                  <c:v>0.0009383461157707815</c:v>
                </c:pt>
                <c:pt idx="2">
                  <c:v>0.001673190870588963</c:v>
                </c:pt>
                <c:pt idx="3">
                  <c:v/>
                </c:pt>
                <c:pt idx="4">
                  <c:v>1.0371726668838684e-05</c:v>
                </c:pt>
                <c:pt idx="5">
                  <c:v>0.002027214747318125</c:v>
                </c:pt>
                <c:pt idx="6">
                  <c:v>0.0015571193082890124</c:v>
                </c:pt>
                <c:pt idx="7">
                  <c:v>0.0026113466142792534</c:v>
                </c:pt>
                <c:pt idx="8">
                  <c:v>0.0033596793730689377</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3596793730689377</c:v>
                </c:pt>
                <c:pt idx="3">
                  <c:v>0.0026113466142792534</c:v>
                </c:pt>
                <c:pt idx="4">
                  <c:v>0.002027214747318125</c:v>
                </c:pt>
                <c:pt idx="5">
                  <c:v>0.0015571193082890124</c:v>
                </c:pt>
                <c:pt idx="6">
                  <c:v/>
                </c:pt>
                <c:pt idx="7">
                  <c:v>1.0371726668838684e-05</c:v>
                </c:pt>
                <c:pt idx="8">
                  <c:v>0.0009383461157707815</c:v>
                </c:pt>
                <c:pt idx="9">
                  <c:v>0.001673190870588963</c:v>
                </c:pt>
                <c:pt idx="10">
                  <c:v>4.043559817115083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1721394986459</c:v>
                </c:pt>
                <c:pt idx="1">
                  <c:v>0.0004808605532957111</c:v>
                </c:pt>
                <c:pt idx="2">
                  <c:v>0.002715917198580908</c:v>
                </c:pt>
                <c:pt idx="3">
                  <c:v>0.006469600288010184</c:v>
                </c:pt>
                <c:pt idx="4">
                  <c:v>0.008818804051483218</c:v>
                </c:pt>
                <c:pt idx="5">
                  <c:v>0.009848554281347895</c:v>
                </c:pt>
                <c:pt idx="6">
                  <c:v>0.0058003203150329054</c:v>
                </c:pt>
                <c:pt idx="7">
                  <c:v>0.018070122323801126</c:v>
                </c:pt>
                <c:pt idx="8">
                  <c:v>0.011680382288567862</c:v>
                </c:pt>
                <c:pt idx="9">
                  <c:v>0.0035391978829527617</c:v>
                </c:pt>
                <c:pt idx="10">
                  <c:v>0.000245676787038811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725619934971639</c:v>
                </c:pt>
                <c:pt idx="3">
                  <c:v>0.008949046454423844</c:v>
                </c:pt>
                <c:pt idx="4">
                  <c:v>0.006129297074432178</c:v>
                </c:pt>
                <c:pt idx="5">
                  <c:v>0.024515893736835173</c:v>
                </c:pt>
                <c:pt idx="6">
                  <c:v>0.015661540441294683</c:v>
                </c:pt>
                <c:pt idx="7">
                  <c:v>0.05133844013659845</c:v>
                </c:pt>
                <c:pt idx="8">
                  <c:v>0.057788673815089106</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856614831110494e-05</c:v>
                </c:pt>
                <c:pt idx="1">
                  <c:v>5.0857004490138715e-06</c:v>
                </c:pt>
                <c:pt idx="2">
                  <c:v>3.5264351773265254e-05</c:v>
                </c:pt>
                <c:pt idx="3">
                  <c:v>0.13356059179014013</c:v>
                </c:pt>
                <c:pt idx="4">
                  <c:v>0.032745011116607166</c:v>
                </c:pt>
                <c:pt idx="5">
                  <c:v>0.045656346239016515</c:v>
                </c:pt>
                <c:pt idx="6">
                  <c:v>0.022933793156152984</c:v>
                </c:pt>
                <c:pt idx="7">
                  <c:v>0.05305367056078226</c:v>
                </c:pt>
                <c:pt idx="8">
                  <c:v>0.016505258068993306</c:v>
                </c:pt>
                <c:pt idx="9">
                  <c:v>0.014804683726685523</c:v>
                </c:pt>
                <c:pt idx="10">
                  <c:v>0.000169516357646924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7471834201411426</c:v>
                </c:pt>
                <c:pt idx="1">
                  <c:v>0.01733909455451033</c:v>
                </c:pt>
                <c:pt idx="2">
                  <c:v>0.030917818303169083</c:v>
                </c:pt>
                <c:pt idx="3">
                  <c:v/>
                </c:pt>
                <c:pt idx="4">
                  <c:v>0.0001913243189511857</c:v>
                </c:pt>
                <c:pt idx="5">
                  <c:v>0.03726530710716553</c:v>
                </c:pt>
                <c:pt idx="6">
                  <c:v>0.028448033461384293</c:v>
                </c:pt>
                <c:pt idx="7">
                  <c:v>0.04432812257210345</c:v>
                </c:pt>
                <c:pt idx="8">
                  <c:v>0.055989035289387354</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15958441887694685</c:v>
                </c:pt>
                <c:pt idx="8">
                  <c:v>0.3649632933266263</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55989035289387354</c:v>
                </c:pt>
                <c:pt idx="3">
                  <c:v>0.04432812257210345</c:v>
                </c:pt>
                <c:pt idx="4">
                  <c:v>0.03726530710716553</c:v>
                </c:pt>
                <c:pt idx="5">
                  <c:v>0.028448033461384293</c:v>
                </c:pt>
                <c:pt idx="6">
                  <c:v/>
                </c:pt>
                <c:pt idx="7">
                  <c:v>0.0001913243189511857</c:v>
                </c:pt>
                <c:pt idx="8">
                  <c:v>0.01733909455451033</c:v>
                </c:pt>
                <c:pt idx="9">
                  <c:v>0.030917818303169083</c:v>
                </c:pt>
                <c:pt idx="10">
                  <c:v>0.000747183420141142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4636169077848524</c:v>
                </c:pt>
                <c:pt idx="8">
                  <c:v>0.10156483467103677</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0.08438156120634603</c:v>
                </c:pt>
                <c:pt idx="6">
                  <c:v>0.0027918831203136998</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25597206184587943</c:v>
                </c:pt>
                <c:pt idx="8">
                  <c:v>0.01119267430049475</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0.0026462490913729043</c:v>
                </c:pt>
                <c:pt idx="5">
                  <c:v>0.06387838300374067</c:v>
                </c:pt>
                <c:pt idx="6">
                  <c:v>0.028663580958399385</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0.06387838300374067</c:v>
                </c:pt>
                <c:pt idx="5">
                  <c:v>0.028663580958399385</c:v>
                </c:pt>
                <c:pt idx="6">
                  <c:v/>
                </c:pt>
                <c:pt idx="7">
                  <c:v>0.0026462490913729043</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695163576469242</c:v>
                </c:pt>
                <c:pt idx="1">
                  <c:v>0.014804683726685523</c:v>
                </c:pt>
                <c:pt idx="2">
                  <c:v>0.016505258068993306</c:v>
                </c:pt>
                <c:pt idx="3">
                  <c:v>0.05305367056078226</c:v>
                </c:pt>
                <c:pt idx="4">
                  <c:v>0.045656346239016515</c:v>
                </c:pt>
                <c:pt idx="5">
                  <c:v>0.022933793156152984</c:v>
                </c:pt>
                <c:pt idx="6">
                  <c:v>0.13356059179014013</c:v>
                </c:pt>
                <c:pt idx="7">
                  <c:v>0.032745011116607166</c:v>
                </c:pt>
                <c:pt idx="8">
                  <c:v>5.0857004490138715e-06</c:v>
                </c:pt>
                <c:pt idx="9">
                  <c:v>3.5264351773265254e-05</c:v>
                </c:pt>
                <c:pt idx="10">
                  <c:v>2.0856614831110494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4636169077848524</c:v>
                </c:pt>
                <c:pt idx="8">
                  <c:v>0.10156483467103677</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0.08438156120634603</c:v>
                </c:pt>
                <c:pt idx="6">
                  <c:v>0.0027918831203136998</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25597206184587943</c:v>
                </c:pt>
                <c:pt idx="8">
                  <c:v>0.01119267430049475</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0.0971053551849625</c:v>
                </c:pt>
                <c:pt idx="6">
                  <c:v>0.015035203438470262</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11541257537623539</c:v>
                </c:pt>
                <c:pt idx="1">
                  <c:v>0.009117305413480924</c:v>
                </c:pt>
                <c:pt idx="2">
                  <c:v>0.016301635329842315</c:v>
                </c:pt>
                <c:pt idx="3">
                  <c:v>0.012411255521436128</c:v>
                </c:pt>
                <c:pt idx="4">
                  <c:v>0.05219875481715808</c:v>
                </c:pt>
                <c:pt idx="5">
                  <c:v>0.09179809552681169</c:v>
                </c:pt>
                <c:pt idx="6">
                  <c:v>0.2026334687049521</c:v>
                </c:pt>
                <c:pt idx="7">
                  <c:v>0.3649632933266263</c:v>
                </c:pt>
                <c:pt idx="8">
                  <c:v>0.15958441887694685</c:v>
                </c:pt>
                <c:pt idx="9">
                  <c:v>0.0794505149451221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0.0971053551849625</c:v>
                </c:pt>
                <c:pt idx="5">
                  <c:v>0.015035203438470262</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25625255554798197</c:v>
                </c:pt>
                <c:pt idx="5">
                  <c:v>0.008625645312964784</c:v>
                </c:pt>
                <c:pt idx="6">
                  <c:v>0.011454911291099035</c:v>
                </c:pt>
                <c:pt idx="7">
                  <c:v>0.022883483224079806</c:v>
                </c:pt>
                <c:pt idx="8">
                  <c:v>0.05329603119673971</c:v>
                </c:pt>
                <c:pt idx="9">
                  <c:v>0.007252018986606235</c:v>
                </c:pt>
                <c:pt idx="10">
                  <c:v>0.00080131643468539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2809690658374989</c:v>
                </c:pt>
                <c:pt idx="5">
                  <c:v>0.0043846185497573254</c:v>
                </c:pt>
                <c:pt idx="6">
                  <c:v>0.016601237523760515</c:v>
                </c:pt>
                <c:pt idx="7">
                  <c:v>0.042002967665951234</c:v>
                </c:pt>
                <c:pt idx="8">
                  <c:v>0.03574887950796415</c:v>
                </c:pt>
                <c:pt idx="9">
                  <c:v>0.008992305718647522</c:v>
                </c:pt>
                <c:pt idx="10">
                  <c:v>0.001076608769049459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0766087690494593</c:v>
                </c:pt>
                <c:pt idx="1">
                  <c:v>0.008992305718647522</c:v>
                </c:pt>
                <c:pt idx="2">
                  <c:v>0.03574887950796415</c:v>
                </c:pt>
                <c:pt idx="3">
                  <c:v>0.042002967665951234</c:v>
                </c:pt>
                <c:pt idx="4">
                  <c:v>0.0043846185497573254</c:v>
                </c:pt>
                <c:pt idx="5">
                  <c:v>0.016601237523760515</c:v>
                </c:pt>
                <c:pt idx="6">
                  <c:v/>
                </c:pt>
                <c:pt idx="7">
                  <c:v>0.0002809690658374989</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4636169077848524</c:v>
                </c:pt>
                <c:pt idx="8">
                  <c:v>0.10156483467103677</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1.1969035214207722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25597206184587943</c:v>
                </c:pt>
                <c:pt idx="8">
                  <c:v>0.01119267430049475</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7.148203296867518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7.148203296867518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49086843778176</c:v>
                </c:pt>
                <c:pt idx="7">
                  <c:v>0.0018803922850693005</c:v>
                </c:pt>
                <c:pt idx="8">
                  <c:v>0.004369324731405162</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43666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879766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324370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163121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029373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88051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74495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176254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29580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852703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940293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898833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601499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667902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125429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335577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707072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56735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876402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033744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48583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440360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967955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014765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014475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302626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935633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360197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811220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335</Words>
  <Application>Microsoft Office PowerPoint</Application>
  <PresentationFormat>On-screen Show (16:9)</PresentationFormat>
  <Paragraphs>1247</Paragraphs>
  <Slides>29</Slides>
  <Notes>2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0"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4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